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5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Y VENTAJAS</a:t>
              </a:r>
              <a:endParaRPr lang="es-ES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PCIÓ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s-ES" dirty="0"/>
              <a:t>Mejorar la flexibilidad del proceso de la botella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dirty="0"/>
              <a:t>Barras de cuarz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B35EBDE-D6DC-450C-922E-5D28FFDEAC59}"/>
              </a:ext>
            </a:extLst>
          </p:cNvPr>
          <p:cNvSpPr/>
          <p:nvPr/>
        </p:nvSpPr>
        <p:spPr>
          <a:xfrm>
            <a:off x="4760867" y="2160646"/>
            <a:ext cx="386344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Instalación de una varilla de cuarzo entre la lámpara calefactora y la preforma para concentrar / enfocar la radiación IR.</a:t>
            </a:r>
          </a:p>
          <a:p>
            <a:endParaRPr lang="es-ES" sz="11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120302-4AEA-4E02-BDB4-7E2ADE9CC71E}"/>
              </a:ext>
            </a:extLst>
          </p:cNvPr>
          <p:cNvSpPr/>
          <p:nvPr/>
        </p:nvSpPr>
        <p:spPr>
          <a:xfrm>
            <a:off x="642939" y="2233613"/>
            <a:ext cx="388937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Contribuye a solucionar los problemas de calentamiento, especialmente en la preforma debajo del cuell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Solo para la primera zon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Recomendado para asegurar la producción de botellas de </a:t>
            </a:r>
            <a:r>
              <a:rPr lang="es-ES" altLang="fr-FR" sz="1200" dirty="0" err="1"/>
              <a:t>rPET</a:t>
            </a:r>
            <a:r>
              <a:rPr lang="es-ES" altLang="fr-FR" sz="1200" dirty="0"/>
              <a:t> para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protección del cuello de la botella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robustez del proceso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asegurar una distribución óptima del material</a:t>
            </a:r>
            <a:endParaRPr lang="en-GB" altLang="fr-FR" sz="1200" b="1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D6F1518-BBFE-45CE-A652-E51900C711DE}"/>
              </a:ext>
            </a:extLst>
          </p:cNvPr>
          <p:cNvSpPr txBox="1">
            <a:spLocks/>
          </p:cNvSpPr>
          <p:nvPr/>
        </p:nvSpPr>
        <p:spPr>
          <a:xfrm>
            <a:off x="642938" y="5874115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US" sz="800" kern="0" dirty="0">
                <a:solidFill>
                  <a:srgbClr val="000000"/>
                </a:solidFill>
              </a:rPr>
              <a:t>C</a:t>
            </a:r>
            <a:r>
              <a:rPr lang="en-GB" altLang="fr-FR" sz="800" dirty="0" err="1">
                <a:solidFill>
                  <a:srgbClr val="000000"/>
                </a:solidFill>
              </a:rPr>
              <a:t>alidad</a:t>
            </a:r>
            <a:r>
              <a:rPr lang="en-GB" altLang="fr-FR" sz="800" dirty="0">
                <a:solidFill>
                  <a:srgbClr val="000000"/>
                </a:solidFill>
              </a:rPr>
              <a:t> del </a:t>
            </a:r>
            <a:r>
              <a:rPr lang="en-GB" altLang="fr-FR" sz="800" dirty="0" err="1">
                <a:solidFill>
                  <a:srgbClr val="000000"/>
                </a:solidFill>
              </a:rPr>
              <a:t>produc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S2</a:t>
            </a:r>
            <a:endParaRPr kumimoji="0" lang="es-E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533</a:t>
            </a:r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A60B7FBB-FA71-4702-8BA4-3185203130E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680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3</TotalTime>
  <Words>99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Mejorar la flexibilidad del proceso de la botell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3</cp:revision>
  <dcterms:created xsi:type="dcterms:W3CDTF">2018-02-10T17:04:39Z</dcterms:created>
  <dcterms:modified xsi:type="dcterms:W3CDTF">2021-02-12T15:3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